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1"/>
  </p:notesMasterIdLst>
  <p:handoutMasterIdLst>
    <p:handoutMasterId r:id="rId12"/>
  </p:handoutMasterIdLst>
  <p:sldIdLst>
    <p:sldId id="356" r:id="rId2"/>
    <p:sldId id="344" r:id="rId3"/>
    <p:sldId id="353" r:id="rId4"/>
    <p:sldId id="354" r:id="rId5"/>
    <p:sldId id="355" r:id="rId6"/>
    <p:sldId id="348" r:id="rId7"/>
    <p:sldId id="349" r:id="rId8"/>
    <p:sldId id="350" r:id="rId9"/>
    <p:sldId id="351" r:id="rId10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56"/>
            <p14:sldId id="344"/>
            <p14:sldId id="353"/>
            <p14:sldId id="354"/>
            <p14:sldId id="355"/>
            <p14:sldId id="348"/>
            <p14:sldId id="349"/>
            <p14:sldId id="350"/>
            <p14:sldId id="351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02" autoAdjust="0"/>
    <p:restoredTop sz="86627" autoAdjust="0"/>
  </p:normalViewPr>
  <p:slideViewPr>
    <p:cSldViewPr snapToObjects="1" showGuides="1">
      <p:cViewPr>
        <p:scale>
          <a:sx n="100" d="100"/>
          <a:sy n="100" d="100"/>
        </p:scale>
        <p:origin x="-845" y="-110"/>
      </p:cViewPr>
      <p:guideLst>
        <p:guide orient="horz" pos="2160"/>
        <p:guide orient="horz" pos="3339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84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150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580093E-C2A0-4352-994A-8EF459CBE42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3D162D-B36B-44BA-ADBC-869C6523CE6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864C9FA-AC9B-42B4-B2BA-87C0E734E2C5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325F874-CB3C-4D0F-8DE4-D0E2F0AC9850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F5BABE3-B033-4543-88DB-8189216523F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B8C90-87D0-4043-983D-4FEBECD8CF9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713333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2790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8C6307A-9036-40A0-BA85-B19A75C8F19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3156940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FA45B93-F6D3-4ED3-B463-BB9ED62885AC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EBA92AD-7C0D-49A3-BBAB-F093A1F722E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1143C0D-CF9B-47F8-9A85-DDEEE1A430C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2F96CE-EF1E-4153-A93B-55B7EDE861E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555ED5A-C42B-4061-954A-059FE30D14B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Power Point Master Faktor Zehn 2012</a:t>
            </a:r>
            <a:endParaRPr lang="de-DE" noProof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1B41818-510A-49BB-89B4-D9F698321022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D8D1BE6-839B-40E6-92C0-66CC8D53589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 – A ConVista Company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8FD96C9-1482-413E-B285-4C202C7EC14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707" r:id="rId2"/>
    <p:sldLayoutId id="2147483690" r:id="rId3"/>
    <p:sldLayoutId id="2147483697" r:id="rId4"/>
    <p:sldLayoutId id="2147483688" r:id="rId5"/>
    <p:sldLayoutId id="2147483691" r:id="rId6"/>
    <p:sldLayoutId id="2147483700" r:id="rId7"/>
    <p:sldLayoutId id="2147483674" r:id="rId8"/>
    <p:sldLayoutId id="2147483704" r:id="rId9"/>
    <p:sldLayoutId id="2147483675" r:id="rId10"/>
    <p:sldLayoutId id="2147483705" r:id="rId11"/>
    <p:sldLayoutId id="2147483702" r:id="rId12"/>
    <p:sldLayoutId id="2147483679" r:id="rId13"/>
    <p:sldLayoutId id="2147483692" r:id="rId14"/>
    <p:sldLayoutId id="2147483701" r:id="rId15"/>
    <p:sldLayoutId id="2147483706" r:id="rId16"/>
    <p:sldLayoutId id="2147483708" r:id="rId17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3897706"/>
              </p:ext>
            </p:extLst>
          </p:nvPr>
        </p:nvGraphicFramePr>
        <p:xfrm>
          <a:off x="268753" y="1484784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3.1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5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6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8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9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0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1 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027ED48-B5AB-45CD-AA9B-8C72E5EA6DF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924254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chliche Anforderungen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1304764"/>
            <a:ext cx="7280275" cy="1894520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rweiterung des Modells, so dass Zusatzdeckungen durch die Fachabteilung hinzugefügt werden können, ohne dass das Modell geändert werden muss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Jede Zusatzdeckung verfügt über eine eigene Versicherungssumme und einen eigenen Jahresbasisbeitrag. Die Versicherungssumme ergibt sich aus der im Vertrag vereinbarten Summe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Beispiele: </a:t>
            </a:r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934384" y="1670576"/>
            <a:ext cx="7281713" cy="845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9677" tIns="34839" rIns="69677" bIns="34839" anchor="ctr"/>
          <a:lstStyle/>
          <a:p>
            <a:endParaRPr lang="de-DE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5185115"/>
              </p:ext>
            </p:extLst>
          </p:nvPr>
        </p:nvGraphicFramePr>
        <p:xfrm>
          <a:off x="377037" y="3536672"/>
          <a:ext cx="8425111" cy="151216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62715"/>
                <a:gridCol w="3024336"/>
                <a:gridCol w="3438060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Fahrraddiebstah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Überspannung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ersicherungssumme</a:t>
                      </a:r>
                      <a:r>
                        <a:rPr lang="de-DE" sz="1400" baseline="0" dirty="0" smtClean="0"/>
                        <a:t> der Zusatzdeckun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% der im Vertrag vereinbarten Summe,</a:t>
                      </a:r>
                      <a:r>
                        <a:rPr lang="de-DE" sz="1400" baseline="0" dirty="0" smtClean="0"/>
                        <a:t> maximal 5000 Euro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% der im Vertrag vereinbarten</a:t>
                      </a:r>
                      <a:r>
                        <a:rPr lang="de-DE" sz="1400" baseline="0" dirty="0" smtClean="0"/>
                        <a:t> Summe. Keine Deckung</a:t>
                      </a:r>
                      <a:endParaRPr lang="de-DE" sz="1400" dirty="0"/>
                    </a:p>
                  </a:txBody>
                  <a:tcPr/>
                </a:tc>
              </a:tr>
              <a:tr h="623168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Jahresbasisbeitra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0% der Versicherungssumme der Fahrraddiebstahldeckun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0 Euro + 3% der Versicherungssumme der Überspannungsdeckung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9226BDD-37D9-4907-A61A-D3A9505DAC5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33113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B5EC304-14CB-4F70-B2DA-0F82C69ABC1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 der Zusatzdeckungen</a:t>
            </a:r>
            <a:endParaRPr lang="de-DE" dirty="0"/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046957" y="3519526"/>
            <a:ext cx="2027237" cy="881582"/>
            <a:chOff x="254719" y="1019700"/>
            <a:chExt cx="3600000" cy="3947717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25911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chemeClr val="tx1"/>
                  </a:solidFill>
                </a:rPr>
                <a:t>/</a:t>
              </a:r>
              <a:r>
                <a:rPr lang="en-US" sz="1000" dirty="0" err="1" smtClean="0">
                  <a:solidFill>
                    <a:schemeClr val="tx1"/>
                  </a:solidFill>
                </a:rPr>
                <a:t>versSumme</a:t>
              </a:r>
              <a:r>
                <a:rPr lang="en-US" sz="1000" dirty="0" smtClean="0">
                  <a:solidFill>
                    <a:schemeClr val="tx1"/>
                  </a:solidFill>
                </a:rPr>
                <a:t>: Money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Zusatz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4490119" y="3519526"/>
            <a:ext cx="2027238" cy="881582"/>
            <a:chOff x="254719" y="1410245"/>
            <a:chExt cx="3600000" cy="3364705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chemeClr val="tx1"/>
                  </a:solidFill>
                </a:rPr>
                <a:t>versSummeFaktor</a:t>
              </a:r>
              <a:r>
                <a:rPr lang="en-US" sz="1000" dirty="0" smtClean="0">
                  <a:solidFill>
                    <a:schemeClr val="tx1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/>
                <a:t>maximaleVersSumme</a:t>
              </a:r>
              <a:r>
                <a:rPr lang="en-US" sz="1000" dirty="0" smtClean="0"/>
                <a:t>: Money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Zusatzdeckungsty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4344069" y="3956088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4085307" y="3951326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14" name="Textfeld 53"/>
          <p:cNvSpPr txBox="1">
            <a:spLocks noChangeArrowheads="1"/>
          </p:cNvSpPr>
          <p:nvPr/>
        </p:nvSpPr>
        <p:spPr bwMode="auto">
          <a:xfrm>
            <a:off x="6517357" y="3951326"/>
            <a:ext cx="1428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4074194" y="4111782"/>
            <a:ext cx="415925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16" name="Gruppieren 17"/>
          <p:cNvGrpSpPr>
            <a:grpSpLocks/>
          </p:cNvGrpSpPr>
          <p:nvPr/>
        </p:nvGrpSpPr>
        <p:grpSpPr bwMode="auto">
          <a:xfrm>
            <a:off x="2048544" y="2132856"/>
            <a:ext cx="2027237" cy="590550"/>
            <a:chOff x="254719" y="1019700"/>
            <a:chExt cx="3600000" cy="2644478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>
                <a:solidFill>
                  <a:schemeClr val="tx1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ieren 21"/>
          <p:cNvGrpSpPr>
            <a:grpSpLocks/>
          </p:cNvGrpSpPr>
          <p:nvPr/>
        </p:nvGrpSpPr>
        <p:grpSpPr bwMode="auto">
          <a:xfrm>
            <a:off x="4491706" y="2132856"/>
            <a:ext cx="2027238" cy="590550"/>
            <a:chOff x="254719" y="1410245"/>
            <a:chExt cx="3600000" cy="225393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/>
                <a:t>p</a:t>
              </a:r>
              <a:r>
                <a:rPr lang="en-US" sz="1000" dirty="0" err="1" smtClean="0"/>
                <a:t>roduktname</a:t>
              </a:r>
              <a:r>
                <a:rPr lang="en-US" sz="1000" dirty="0" smtClean="0"/>
                <a:t>: String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Textfeld 29"/>
          <p:cNvSpPr txBox="1">
            <a:spLocks noChangeArrowheads="1"/>
          </p:cNvSpPr>
          <p:nvPr/>
        </p:nvSpPr>
        <p:spPr bwMode="auto">
          <a:xfrm>
            <a:off x="4345656" y="2569418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5" name="Textfeld 52"/>
          <p:cNvSpPr txBox="1">
            <a:spLocks noChangeArrowheads="1"/>
          </p:cNvSpPr>
          <p:nvPr/>
        </p:nvSpPr>
        <p:spPr bwMode="auto">
          <a:xfrm>
            <a:off x="4086894" y="2564656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cxnSp>
        <p:nvCxnSpPr>
          <p:cNvPr id="27" name="Gerade Verbindung 57"/>
          <p:cNvCxnSpPr>
            <a:cxnSpLocks noChangeShapeType="1"/>
            <a:stCxn id="17" idx="3"/>
            <a:endCxn id="20" idx="1"/>
          </p:cNvCxnSpPr>
          <p:nvPr/>
        </p:nvCxnSpPr>
        <p:spPr bwMode="auto">
          <a:xfrm>
            <a:off x="4075781" y="2578943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9" name="Gerade Verbindung mit Pfeil 28"/>
          <p:cNvCxnSpPr>
            <a:stCxn id="6" idx="0"/>
            <a:endCxn id="17" idx="2"/>
          </p:cNvCxnSpPr>
          <p:nvPr/>
        </p:nvCxnSpPr>
        <p:spPr bwMode="auto">
          <a:xfrm flipV="1">
            <a:off x="3060576" y="2723406"/>
            <a:ext cx="1587" cy="7961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3" name="Gerade Verbindung mit Pfeil 32"/>
          <p:cNvCxnSpPr>
            <a:stCxn id="9" idx="0"/>
            <a:endCxn id="20" idx="2"/>
          </p:cNvCxnSpPr>
          <p:nvPr/>
        </p:nvCxnSpPr>
        <p:spPr bwMode="auto">
          <a:xfrm flipV="1">
            <a:off x="5503738" y="2723406"/>
            <a:ext cx="1587" cy="7961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Textfeld 52"/>
          <p:cNvSpPr txBox="1">
            <a:spLocks noChangeArrowheads="1"/>
          </p:cNvSpPr>
          <p:nvPr/>
        </p:nvSpPr>
        <p:spPr bwMode="auto">
          <a:xfrm>
            <a:off x="3062232" y="3347591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35" name="Textfeld 52"/>
          <p:cNvSpPr txBox="1">
            <a:spLocks noChangeArrowheads="1"/>
          </p:cNvSpPr>
          <p:nvPr/>
        </p:nvSpPr>
        <p:spPr bwMode="auto">
          <a:xfrm>
            <a:off x="5505325" y="3347591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6397112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18DB3F-50B3-4DEB-881E-A7E2CEFA098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 der Zusatzdeckungen mit Instanzen</a:t>
            </a:r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575556" y="3051474"/>
            <a:ext cx="2027237" cy="881582"/>
            <a:chOff x="254719" y="1019700"/>
            <a:chExt cx="3600000" cy="3947717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2376218"/>
              <a:ext cx="3600000" cy="25911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chemeClr val="tx1"/>
                  </a:solidFill>
                </a:rPr>
                <a:t>/</a:t>
              </a:r>
              <a:r>
                <a:rPr lang="en-US" sz="1000" dirty="0" err="1" smtClean="0">
                  <a:solidFill>
                    <a:schemeClr val="tx1"/>
                  </a:solidFill>
                </a:rPr>
                <a:t>versSumme</a:t>
              </a:r>
              <a:r>
                <a:rPr lang="en-US" sz="1000" dirty="0" smtClean="0">
                  <a:solidFill>
                    <a:schemeClr val="tx1"/>
                  </a:solidFill>
                </a:rPr>
                <a:t>: Money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Zusatz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3018718" y="3051474"/>
            <a:ext cx="2027238" cy="881582"/>
            <a:chOff x="254719" y="1410245"/>
            <a:chExt cx="3600000" cy="3364705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chemeClr val="tx1"/>
                  </a:solidFill>
                </a:rPr>
                <a:t>versSummeFaktor</a:t>
              </a:r>
              <a:r>
                <a:rPr lang="en-US" sz="1000" dirty="0" smtClean="0">
                  <a:solidFill>
                    <a:schemeClr val="tx1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/>
                <a:t>maximaleVersSumme</a:t>
              </a:r>
              <a:r>
                <a:rPr lang="en-US" sz="1000" dirty="0" smtClean="0"/>
                <a:t>: Money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Zusatzdeckungsty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872668" y="3488036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613906" y="3483274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14" name="Textfeld 53"/>
          <p:cNvSpPr txBox="1">
            <a:spLocks noChangeArrowheads="1"/>
          </p:cNvSpPr>
          <p:nvPr/>
        </p:nvSpPr>
        <p:spPr bwMode="auto">
          <a:xfrm>
            <a:off x="5045956" y="3483274"/>
            <a:ext cx="1428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602793" y="3643730"/>
            <a:ext cx="415925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16" name="Gruppieren 17"/>
          <p:cNvGrpSpPr>
            <a:grpSpLocks/>
          </p:cNvGrpSpPr>
          <p:nvPr/>
        </p:nvGrpSpPr>
        <p:grpSpPr bwMode="auto">
          <a:xfrm>
            <a:off x="577143" y="1664804"/>
            <a:ext cx="2027237" cy="590550"/>
            <a:chOff x="254719" y="1019700"/>
            <a:chExt cx="3600000" cy="2644478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>
                <a:solidFill>
                  <a:schemeClr val="tx1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ieren 21"/>
          <p:cNvGrpSpPr>
            <a:grpSpLocks/>
          </p:cNvGrpSpPr>
          <p:nvPr/>
        </p:nvGrpSpPr>
        <p:grpSpPr bwMode="auto">
          <a:xfrm>
            <a:off x="3020305" y="1664804"/>
            <a:ext cx="2027238" cy="590550"/>
            <a:chOff x="254719" y="1410245"/>
            <a:chExt cx="3600000" cy="225393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/>
                <a:t>p</a:t>
              </a:r>
              <a:r>
                <a:rPr lang="en-US" sz="1000" dirty="0" err="1" smtClean="0"/>
                <a:t>roduktname</a:t>
              </a:r>
              <a:r>
                <a:rPr lang="en-US" sz="1000" dirty="0" smtClean="0"/>
                <a:t>: String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Textfeld 29"/>
          <p:cNvSpPr txBox="1">
            <a:spLocks noChangeArrowheads="1"/>
          </p:cNvSpPr>
          <p:nvPr/>
        </p:nvSpPr>
        <p:spPr bwMode="auto">
          <a:xfrm>
            <a:off x="2874255" y="2101366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5" name="Textfeld 52"/>
          <p:cNvSpPr txBox="1">
            <a:spLocks noChangeArrowheads="1"/>
          </p:cNvSpPr>
          <p:nvPr/>
        </p:nvSpPr>
        <p:spPr bwMode="auto">
          <a:xfrm>
            <a:off x="2615493" y="2096604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cxnSp>
        <p:nvCxnSpPr>
          <p:cNvPr id="27" name="Gerade Verbindung 57"/>
          <p:cNvCxnSpPr>
            <a:cxnSpLocks noChangeShapeType="1"/>
            <a:stCxn id="17" idx="3"/>
            <a:endCxn id="20" idx="1"/>
          </p:cNvCxnSpPr>
          <p:nvPr/>
        </p:nvCxnSpPr>
        <p:spPr bwMode="auto">
          <a:xfrm>
            <a:off x="2604380" y="2110891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9" name="Gerade Verbindung mit Pfeil 28"/>
          <p:cNvCxnSpPr>
            <a:stCxn id="6" idx="0"/>
            <a:endCxn id="17" idx="2"/>
          </p:cNvCxnSpPr>
          <p:nvPr/>
        </p:nvCxnSpPr>
        <p:spPr bwMode="auto">
          <a:xfrm flipV="1">
            <a:off x="1589175" y="2255354"/>
            <a:ext cx="1587" cy="7961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3" name="Gerade Verbindung mit Pfeil 32"/>
          <p:cNvCxnSpPr>
            <a:stCxn id="9" idx="0"/>
            <a:endCxn id="20" idx="2"/>
          </p:cNvCxnSpPr>
          <p:nvPr/>
        </p:nvCxnSpPr>
        <p:spPr bwMode="auto">
          <a:xfrm flipV="1">
            <a:off x="4032337" y="2255354"/>
            <a:ext cx="1587" cy="7961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Textfeld 52"/>
          <p:cNvSpPr txBox="1">
            <a:spLocks noChangeArrowheads="1"/>
          </p:cNvSpPr>
          <p:nvPr/>
        </p:nvSpPr>
        <p:spPr bwMode="auto">
          <a:xfrm>
            <a:off x="1590831" y="2879539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35" name="Textfeld 52"/>
          <p:cNvSpPr txBox="1">
            <a:spLocks noChangeArrowheads="1"/>
          </p:cNvSpPr>
          <p:nvPr/>
        </p:nvSpPr>
        <p:spPr bwMode="auto">
          <a:xfrm>
            <a:off x="4033924" y="2879539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grpSp>
        <p:nvGrpSpPr>
          <p:cNvPr id="28" name="Gruppieren 21"/>
          <p:cNvGrpSpPr>
            <a:grpSpLocks/>
          </p:cNvGrpSpPr>
          <p:nvPr/>
        </p:nvGrpSpPr>
        <p:grpSpPr bwMode="auto">
          <a:xfrm>
            <a:off x="4247964" y="4851674"/>
            <a:ext cx="2027238" cy="881582"/>
            <a:chOff x="254719" y="1410245"/>
            <a:chExt cx="3600000" cy="3364705"/>
          </a:xfrm>
        </p:grpSpPr>
        <p:sp>
          <p:nvSpPr>
            <p:cNvPr id="3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chemeClr val="tx1"/>
                  </a:solidFill>
                </a:rPr>
                <a:t>versSummeFaktor</a:t>
              </a:r>
              <a:r>
                <a:rPr lang="en-US" sz="1000" dirty="0" smtClean="0">
                  <a:solidFill>
                    <a:schemeClr val="tx1"/>
                  </a:solidFill>
                </a:rPr>
                <a:t>=0.05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/>
                <a:t>maximaleVersSumme</a:t>
              </a:r>
              <a:r>
                <a:rPr lang="en-US" sz="1000" dirty="0" smtClean="0"/>
                <a:t>=null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Zusatzdeckungsty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uppieren 21"/>
          <p:cNvGrpSpPr>
            <a:grpSpLocks/>
          </p:cNvGrpSpPr>
          <p:nvPr/>
        </p:nvGrpSpPr>
        <p:grpSpPr bwMode="auto">
          <a:xfrm>
            <a:off x="1727684" y="4851674"/>
            <a:ext cx="2027238" cy="881582"/>
            <a:chOff x="254719" y="1410245"/>
            <a:chExt cx="3600000" cy="3364705"/>
          </a:xfrm>
        </p:grpSpPr>
        <p:sp>
          <p:nvSpPr>
            <p:cNvPr id="36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chemeClr val="tx1"/>
                  </a:solidFill>
                </a:rPr>
                <a:t>versSummeFaktor</a:t>
              </a:r>
              <a:r>
                <a:rPr lang="en-US" sz="1000" dirty="0" smtClean="0">
                  <a:solidFill>
                    <a:schemeClr val="tx1"/>
                  </a:solidFill>
                </a:rPr>
                <a:t>=0.01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/>
                <a:t>maximaleVersSumme</a:t>
              </a:r>
              <a:r>
                <a:rPr lang="en-US" sz="1000" dirty="0" smtClean="0"/>
                <a:t>=5000EUR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Fahrraddiebstahl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8" name="Gerade Verbindung mit Pfeil 58"/>
          <p:cNvCxnSpPr>
            <a:cxnSpLocks noChangeShapeType="1"/>
          </p:cNvCxnSpPr>
          <p:nvPr/>
        </p:nvCxnSpPr>
        <p:spPr bwMode="auto">
          <a:xfrm flipV="1">
            <a:off x="2741303" y="3933056"/>
            <a:ext cx="678569" cy="91861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39" name="Gerade Verbindung mit Pfeil 58"/>
          <p:cNvCxnSpPr>
            <a:cxnSpLocks noChangeShapeType="1"/>
            <a:stCxn id="31" idx="0"/>
          </p:cNvCxnSpPr>
          <p:nvPr/>
        </p:nvCxnSpPr>
        <p:spPr bwMode="auto">
          <a:xfrm flipH="1" flipV="1">
            <a:off x="4716016" y="3933056"/>
            <a:ext cx="545567" cy="91861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40" name="Textfeld 61"/>
          <p:cNvSpPr txBox="1">
            <a:spLocks noChangeArrowheads="1"/>
          </p:cNvSpPr>
          <p:nvPr/>
        </p:nvSpPr>
        <p:spPr bwMode="auto">
          <a:xfrm>
            <a:off x="2225105" y="4291577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chemeClr val="tx1"/>
                </a:solidFill>
              </a:rPr>
              <a:t>&lt;&lt;</a:t>
            </a:r>
            <a:r>
              <a:rPr lang="de-DE" sz="800" dirty="0" err="1">
                <a:solidFill>
                  <a:schemeClr val="tx1"/>
                </a:solidFill>
              </a:rPr>
              <a:t>instanceOf</a:t>
            </a:r>
            <a:r>
              <a:rPr lang="de-DE" sz="800" dirty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41" name="Textfeld 61"/>
          <p:cNvSpPr txBox="1">
            <a:spLocks noChangeArrowheads="1"/>
          </p:cNvSpPr>
          <p:nvPr/>
        </p:nvSpPr>
        <p:spPr bwMode="auto">
          <a:xfrm>
            <a:off x="5047543" y="4294734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chemeClr val="tx1"/>
                </a:solidFill>
              </a:rPr>
              <a:t>&lt;&lt;</a:t>
            </a:r>
            <a:r>
              <a:rPr lang="de-DE" sz="800" dirty="0" err="1">
                <a:solidFill>
                  <a:schemeClr val="tx1"/>
                </a:solidFill>
              </a:rPr>
              <a:t>instanceOf</a:t>
            </a:r>
            <a:r>
              <a:rPr lang="de-DE" sz="800" dirty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42" name="Legende mit Linie 1 41"/>
          <p:cNvSpPr/>
          <p:nvPr/>
        </p:nvSpPr>
        <p:spPr bwMode="auto">
          <a:xfrm>
            <a:off x="6706133" y="2464321"/>
            <a:ext cx="1900160" cy="1055859"/>
          </a:xfrm>
          <a:prstGeom prst="borderCallout1">
            <a:avLst>
              <a:gd name="adj1" fmla="val 20193"/>
              <a:gd name="adj2" fmla="val -313"/>
              <a:gd name="adj3" fmla="val 72085"/>
              <a:gd name="adj4" fmla="val -8716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 smtClean="0"/>
              <a:t>Vereinfachte Darstellung</a:t>
            </a:r>
          </a:p>
          <a:p>
            <a:r>
              <a:rPr lang="de-DE" sz="1100" dirty="0" smtClean="0"/>
              <a:t>(ohne Anpassungsstufen)</a:t>
            </a:r>
            <a:endParaRPr lang="de-DE" sz="1100" dirty="0"/>
          </a:p>
          <a:p>
            <a:endParaRPr lang="de-DE" sz="110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039379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9976D70-9B9B-4930-B996-DEA8D03BD61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 der Zusatzdeckungen mit </a:t>
            </a:r>
            <a:r>
              <a:rPr lang="de-DE" dirty="0" err="1" smtClean="0"/>
              <a:t>Qualifier</a:t>
            </a:r>
            <a:endParaRPr lang="de-DE" dirty="0"/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575556" y="3051474"/>
            <a:ext cx="2027237" cy="881582"/>
            <a:chOff x="254719" y="1019700"/>
            <a:chExt cx="3600000" cy="3947717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2376218"/>
              <a:ext cx="3600000" cy="25911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chemeClr val="tx1"/>
                  </a:solidFill>
                </a:rPr>
                <a:t>/</a:t>
              </a:r>
              <a:r>
                <a:rPr lang="en-US" sz="1000" dirty="0" err="1" smtClean="0">
                  <a:solidFill>
                    <a:schemeClr val="tx1"/>
                  </a:solidFill>
                </a:rPr>
                <a:t>versSumme</a:t>
              </a:r>
              <a:r>
                <a:rPr lang="en-US" sz="1000" dirty="0" smtClean="0">
                  <a:solidFill>
                    <a:schemeClr val="tx1"/>
                  </a:solidFill>
                </a:rPr>
                <a:t>: Money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Zusatz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3018718" y="3051474"/>
            <a:ext cx="2027238" cy="881582"/>
            <a:chOff x="254719" y="1410245"/>
            <a:chExt cx="3600000" cy="3364705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chemeClr val="tx1"/>
                  </a:solidFill>
                </a:rPr>
                <a:t>versSummeFaktor</a:t>
              </a:r>
              <a:r>
                <a:rPr lang="en-US" sz="1000" dirty="0" smtClean="0">
                  <a:solidFill>
                    <a:schemeClr val="tx1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/>
                <a:t>maximaleVersSumme</a:t>
              </a:r>
              <a:r>
                <a:rPr lang="en-US" sz="1000" dirty="0" smtClean="0"/>
                <a:t>: Money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Zusatzdeckungsty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872668" y="3488036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613906" y="3483274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14" name="Textfeld 53"/>
          <p:cNvSpPr txBox="1">
            <a:spLocks noChangeArrowheads="1"/>
          </p:cNvSpPr>
          <p:nvPr/>
        </p:nvSpPr>
        <p:spPr bwMode="auto">
          <a:xfrm>
            <a:off x="5045956" y="3483274"/>
            <a:ext cx="1428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602793" y="3643730"/>
            <a:ext cx="415925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16" name="Gruppieren 17"/>
          <p:cNvGrpSpPr>
            <a:grpSpLocks/>
          </p:cNvGrpSpPr>
          <p:nvPr/>
        </p:nvGrpSpPr>
        <p:grpSpPr bwMode="auto">
          <a:xfrm>
            <a:off x="577143" y="1664804"/>
            <a:ext cx="2027237" cy="590550"/>
            <a:chOff x="254719" y="1019700"/>
            <a:chExt cx="3600000" cy="2644478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>
                <a:solidFill>
                  <a:schemeClr val="tx1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ieren 21"/>
          <p:cNvGrpSpPr>
            <a:grpSpLocks/>
          </p:cNvGrpSpPr>
          <p:nvPr/>
        </p:nvGrpSpPr>
        <p:grpSpPr bwMode="auto">
          <a:xfrm>
            <a:off x="3020305" y="1664804"/>
            <a:ext cx="2027238" cy="590550"/>
            <a:chOff x="254719" y="1410245"/>
            <a:chExt cx="3600000" cy="225393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/>
                <a:t>p</a:t>
              </a:r>
              <a:r>
                <a:rPr lang="en-US" sz="1000" dirty="0" err="1" smtClean="0"/>
                <a:t>roduktname</a:t>
              </a:r>
              <a:r>
                <a:rPr lang="en-US" sz="1000" dirty="0" smtClean="0"/>
                <a:t>: String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Textfeld 29"/>
          <p:cNvSpPr txBox="1">
            <a:spLocks noChangeArrowheads="1"/>
          </p:cNvSpPr>
          <p:nvPr/>
        </p:nvSpPr>
        <p:spPr bwMode="auto">
          <a:xfrm>
            <a:off x="2874255" y="2101366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5" name="Textfeld 52"/>
          <p:cNvSpPr txBox="1">
            <a:spLocks noChangeArrowheads="1"/>
          </p:cNvSpPr>
          <p:nvPr/>
        </p:nvSpPr>
        <p:spPr bwMode="auto">
          <a:xfrm>
            <a:off x="2615493" y="2096604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cxnSp>
        <p:nvCxnSpPr>
          <p:cNvPr id="27" name="Gerade Verbindung 57"/>
          <p:cNvCxnSpPr>
            <a:cxnSpLocks noChangeShapeType="1"/>
            <a:stCxn id="17" idx="3"/>
            <a:endCxn id="20" idx="1"/>
          </p:cNvCxnSpPr>
          <p:nvPr/>
        </p:nvCxnSpPr>
        <p:spPr bwMode="auto">
          <a:xfrm>
            <a:off x="2604380" y="2110891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9" name="Gerade Verbindung mit Pfeil 28"/>
          <p:cNvCxnSpPr>
            <a:stCxn id="6" idx="0"/>
            <a:endCxn id="17" idx="2"/>
          </p:cNvCxnSpPr>
          <p:nvPr/>
        </p:nvCxnSpPr>
        <p:spPr bwMode="auto">
          <a:xfrm flipV="1">
            <a:off x="1589175" y="2255354"/>
            <a:ext cx="1587" cy="7961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3" name="Gerade Verbindung mit Pfeil 32"/>
          <p:cNvCxnSpPr>
            <a:stCxn id="9" idx="0"/>
            <a:endCxn id="20" idx="2"/>
          </p:cNvCxnSpPr>
          <p:nvPr/>
        </p:nvCxnSpPr>
        <p:spPr bwMode="auto">
          <a:xfrm flipV="1">
            <a:off x="4032337" y="2255354"/>
            <a:ext cx="1587" cy="7961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Textfeld 52"/>
          <p:cNvSpPr txBox="1">
            <a:spLocks noChangeArrowheads="1"/>
          </p:cNvSpPr>
          <p:nvPr/>
        </p:nvSpPr>
        <p:spPr bwMode="auto">
          <a:xfrm>
            <a:off x="827584" y="2842369"/>
            <a:ext cx="1620180" cy="2265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 err="1" smtClean="0">
                <a:solidFill>
                  <a:schemeClr val="tx1"/>
                </a:solidFill>
              </a:rPr>
              <a:t>HausratZusatzdeckungsty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35" name="Textfeld 52"/>
          <p:cNvSpPr txBox="1">
            <a:spLocks noChangeArrowheads="1"/>
          </p:cNvSpPr>
          <p:nvPr/>
        </p:nvSpPr>
        <p:spPr bwMode="auto">
          <a:xfrm>
            <a:off x="4033924" y="2879539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chemeClr val="tx1"/>
                </a:solidFill>
              </a:rPr>
              <a:t>*</a:t>
            </a:r>
          </a:p>
        </p:txBody>
      </p:sp>
      <p:grpSp>
        <p:nvGrpSpPr>
          <p:cNvPr id="28" name="Gruppieren 21"/>
          <p:cNvGrpSpPr>
            <a:grpSpLocks/>
          </p:cNvGrpSpPr>
          <p:nvPr/>
        </p:nvGrpSpPr>
        <p:grpSpPr bwMode="auto">
          <a:xfrm>
            <a:off x="4247964" y="4851674"/>
            <a:ext cx="2027238" cy="881582"/>
            <a:chOff x="254719" y="1410245"/>
            <a:chExt cx="3600000" cy="3364705"/>
          </a:xfrm>
        </p:grpSpPr>
        <p:sp>
          <p:nvSpPr>
            <p:cNvPr id="3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chemeClr val="tx1"/>
                  </a:solidFill>
                </a:rPr>
                <a:t>versSummeFaktor</a:t>
              </a:r>
              <a:r>
                <a:rPr lang="en-US" sz="1000" dirty="0" smtClean="0">
                  <a:solidFill>
                    <a:schemeClr val="tx1"/>
                  </a:solidFill>
                </a:rPr>
                <a:t>=0.05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/>
                <a:t>maximaleVersSumme</a:t>
              </a:r>
              <a:r>
                <a:rPr lang="en-US" sz="1000" dirty="0" smtClean="0"/>
                <a:t>=null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Zusatzdeckungsty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uppieren 21"/>
          <p:cNvGrpSpPr>
            <a:grpSpLocks/>
          </p:cNvGrpSpPr>
          <p:nvPr/>
        </p:nvGrpSpPr>
        <p:grpSpPr bwMode="auto">
          <a:xfrm>
            <a:off x="1727684" y="4851674"/>
            <a:ext cx="2027238" cy="881582"/>
            <a:chOff x="254719" y="1410245"/>
            <a:chExt cx="3600000" cy="3364705"/>
          </a:xfrm>
        </p:grpSpPr>
        <p:sp>
          <p:nvSpPr>
            <p:cNvPr id="36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chemeClr val="tx1"/>
                  </a:solidFill>
                </a:rPr>
                <a:t>versSummeFaktor</a:t>
              </a:r>
              <a:r>
                <a:rPr lang="en-US" sz="1000" dirty="0" smtClean="0">
                  <a:solidFill>
                    <a:schemeClr val="tx1"/>
                  </a:solidFill>
                </a:rPr>
                <a:t>=0.01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/>
                <a:t>maximaleVersSumme</a:t>
              </a:r>
              <a:r>
                <a:rPr lang="en-US" sz="1000" dirty="0" smtClean="0"/>
                <a:t>=5000EUR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Fahrraddiebstahl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8" name="Gerade Verbindung mit Pfeil 58"/>
          <p:cNvCxnSpPr>
            <a:cxnSpLocks noChangeShapeType="1"/>
          </p:cNvCxnSpPr>
          <p:nvPr/>
        </p:nvCxnSpPr>
        <p:spPr bwMode="auto">
          <a:xfrm flipV="1">
            <a:off x="2741303" y="3933056"/>
            <a:ext cx="678569" cy="91861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39" name="Gerade Verbindung mit Pfeil 58"/>
          <p:cNvCxnSpPr>
            <a:cxnSpLocks noChangeShapeType="1"/>
            <a:stCxn id="31" idx="0"/>
          </p:cNvCxnSpPr>
          <p:nvPr/>
        </p:nvCxnSpPr>
        <p:spPr bwMode="auto">
          <a:xfrm flipH="1" flipV="1">
            <a:off x="4716016" y="3933056"/>
            <a:ext cx="545567" cy="91861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40" name="Textfeld 61"/>
          <p:cNvSpPr txBox="1">
            <a:spLocks noChangeArrowheads="1"/>
          </p:cNvSpPr>
          <p:nvPr/>
        </p:nvSpPr>
        <p:spPr bwMode="auto">
          <a:xfrm>
            <a:off x="2225105" y="4291577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chemeClr val="tx1"/>
                </a:solidFill>
              </a:rPr>
              <a:t>&lt;&lt;</a:t>
            </a:r>
            <a:r>
              <a:rPr lang="de-DE" sz="800" dirty="0" err="1">
                <a:solidFill>
                  <a:schemeClr val="tx1"/>
                </a:solidFill>
              </a:rPr>
              <a:t>instanceOf</a:t>
            </a:r>
            <a:r>
              <a:rPr lang="de-DE" sz="800" dirty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41" name="Textfeld 61"/>
          <p:cNvSpPr txBox="1">
            <a:spLocks noChangeArrowheads="1"/>
          </p:cNvSpPr>
          <p:nvPr/>
        </p:nvSpPr>
        <p:spPr bwMode="auto">
          <a:xfrm>
            <a:off x="5047543" y="4294734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chemeClr val="tx1"/>
                </a:solidFill>
              </a:rPr>
              <a:t>&lt;&lt;</a:t>
            </a:r>
            <a:r>
              <a:rPr lang="de-DE" sz="800" dirty="0" err="1">
                <a:solidFill>
                  <a:schemeClr val="tx1"/>
                </a:solidFill>
              </a:rPr>
              <a:t>instanceOf</a:t>
            </a:r>
            <a:r>
              <a:rPr lang="de-DE" sz="800" dirty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42" name="Legende mit Linie 1 41"/>
          <p:cNvSpPr/>
          <p:nvPr/>
        </p:nvSpPr>
        <p:spPr bwMode="auto">
          <a:xfrm>
            <a:off x="6706133" y="2464321"/>
            <a:ext cx="1900160" cy="1055859"/>
          </a:xfrm>
          <a:prstGeom prst="borderCallout1">
            <a:avLst>
              <a:gd name="adj1" fmla="val 20193"/>
              <a:gd name="adj2" fmla="val -313"/>
              <a:gd name="adj3" fmla="val 72085"/>
              <a:gd name="adj4" fmla="val -8716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 smtClean="0"/>
              <a:t>Vereinfachte Darstellung</a:t>
            </a:r>
          </a:p>
          <a:p>
            <a:r>
              <a:rPr lang="de-DE" sz="1100" dirty="0" smtClean="0"/>
              <a:t>(ohne Anpassungsstufen)</a:t>
            </a:r>
            <a:endParaRPr lang="de-DE" sz="1100" dirty="0"/>
          </a:p>
          <a:p>
            <a:endParaRPr lang="de-DE" sz="1100" dirty="0"/>
          </a:p>
        </p:txBody>
      </p:sp>
      <p:sp>
        <p:nvSpPr>
          <p:cNvPr id="10" name="Textfeld 9"/>
          <p:cNvSpPr txBox="1"/>
          <p:nvPr/>
        </p:nvSpPr>
        <p:spPr>
          <a:xfrm>
            <a:off x="1589174" y="2653414"/>
            <a:ext cx="49855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0..1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5579990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Anlegen der Zusatzdeckungen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3264398"/>
              </p:ext>
            </p:extLst>
          </p:nvPr>
        </p:nvGraphicFramePr>
        <p:xfrm>
          <a:off x="755576" y="1916832"/>
          <a:ext cx="7488831" cy="1630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189927"/>
                <a:gridCol w="2660352"/>
                <a:gridCol w="2638552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HRD-Fahrraddiebstahl 2008-04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HDR-Überspannung</a:t>
                      </a:r>
                      <a:r>
                        <a:rPr lang="de-DE" sz="1400" baseline="0" dirty="0" smtClean="0"/>
                        <a:t> 2008-04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Fahrraddiebstah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Überspannungsschutz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 smtClean="0"/>
                        <a:t>VersSummenFaktor</a:t>
                      </a:r>
                      <a:endParaRPr lang="de-DE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0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05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Maximale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baseline="0" dirty="0" err="1" smtClean="0"/>
                        <a:t>VersSumm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3000 EUR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&lt;null&gt;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F33B02-87A6-40B0-AB8B-B59D3A3BC13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644128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Berechnungen mit der Faktor-IPS Formelsprache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304764"/>
            <a:ext cx="7280275" cy="4246563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fache Berechnungsvorschriften, die ein Fachbereich unabhängig von einer Anwendungsentwicklung implementieren möchte, können in Faktor-IPS mit Formelausdrücken angegeben werd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Formelsprache ist an die Formelsprache von Excel angelehnt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m Formeln in einem Produktbaustein angeben zu können, muss in der Produktklasse des Bausteines eine Formelsignatur angegeben werd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e Formelsignatur kann weiterhin einem als </a:t>
            </a:r>
            <a:r>
              <a:rPr lang="de-DE" i="1" dirty="0"/>
              <a:t>abgeleitet</a:t>
            </a:r>
            <a:r>
              <a:rPr lang="de-DE" dirty="0"/>
              <a:t> gekennzeichneten Vertragsklassenattribut zugeordnet werden. D.h. die Werte des Vertragsattributs können durch die Produktkonfiguration bestimmt werd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as folgende Beispiel zeigt dies.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267B7EB-4FCE-4302-82ED-9AFA2E66CD2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34691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Beitragsberechnung für die Zusatzdeckungen</a:t>
            </a:r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340768"/>
            <a:ext cx="7280275" cy="4244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Basisbeiträge sollen über Formelausdrücke angegeben werden</a:t>
            </a:r>
          </a:p>
          <a:p>
            <a:pPr marL="366798" lvl="1" indent="-285750">
              <a:spcAft>
                <a:spcPts val="1200"/>
              </a:spcAft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 </a:t>
            </a:r>
            <a:r>
              <a:rPr kumimoji="1" lang="de-DE" dirty="0">
                <a:ea typeface="+mn-ea"/>
                <a:cs typeface="+mn-cs"/>
              </a:rPr>
              <a:t>Fahrraddiebstahl 10% der Versicherungssumme</a:t>
            </a:r>
          </a:p>
          <a:p>
            <a:pPr marL="366798" lvl="1" indent="-285750">
              <a:spcAft>
                <a:spcPts val="1200"/>
              </a:spcAft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kumimoji="1" lang="de-DE" dirty="0">
                <a:ea typeface="+mn-ea"/>
                <a:cs typeface="+mn-cs"/>
              </a:rPr>
              <a:t>Überspannung 10EUR + 3% der Versicherungssumm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16B02C1-A352-4376-B80E-59085FBBD15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703641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Übun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63CD88A-609D-44F7-8BFD-30A17A663DF1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95803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7</Words>
  <Application>Microsoft Office PowerPoint</Application>
  <PresentationFormat>Bildschirmpräsentation (4:3)</PresentationFormat>
  <Paragraphs>134</Paragraphs>
  <Slides>9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Master - ConVista General </vt:lpstr>
      <vt:lpstr>Inhalt - Modellierung &amp; Produktdefinition</vt:lpstr>
      <vt:lpstr>Fachliche Anforderungen</vt:lpstr>
      <vt:lpstr>Modell der Zusatzdeckungen</vt:lpstr>
      <vt:lpstr>Modell der Zusatzdeckungen mit Instanzen</vt:lpstr>
      <vt:lpstr>Modell der Zusatzdeckungen mit Qualifier</vt:lpstr>
      <vt:lpstr>Demo: Anlegen der Zusatzdeckungen</vt:lpstr>
      <vt:lpstr>Berechnungen mit der Faktor-IPS Formelsprache</vt:lpstr>
      <vt:lpstr>Demo: Beitragsberechnung für die Zusatzdeckungen</vt:lpstr>
      <vt:lpstr>Übungen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593</cp:revision>
  <cp:lastPrinted>2012-11-15T10:54:39Z</cp:lastPrinted>
  <dcterms:created xsi:type="dcterms:W3CDTF">2005-03-22T09:36:15Z</dcterms:created>
  <dcterms:modified xsi:type="dcterms:W3CDTF">2012-11-15T17:39:10Z</dcterms:modified>
  <cp:category>Master</cp:category>
  <cp:contentStatus>RELEASED</cp:contentStatus>
</cp:coreProperties>
</file>